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12" r:id="rId15"/>
    <p:sldId id="2147375613" r:id="rId16"/>
    <p:sldId id="163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5D1627-13BA-440E-A5EE-ADB6DEB90009}" v="33" dt="2024-09-06T13:29:55.9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36" d="100"/>
          <a:sy n="36" d="100"/>
        </p:scale>
        <p:origin x="988"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arwal, Rashi SBOBNG-PTIV/LI" userId="fd7d9d23-41e3-4365-a353-79d16ae7ab6e" providerId="ADAL" clId="{3F5D1627-13BA-440E-A5EE-ADB6DEB90009}"/>
    <pc:docChg chg="undo custSel addSld delSld modSld sldOrd">
      <pc:chgData name="Agarwal, Rashi SBOBNG-PTIV/LI" userId="fd7d9d23-41e3-4365-a353-79d16ae7ab6e" providerId="ADAL" clId="{3F5D1627-13BA-440E-A5EE-ADB6DEB90009}" dt="2024-09-06T13:36:13.598" v="713" actId="20577"/>
      <pc:docMkLst>
        <pc:docMk/>
      </pc:docMkLst>
      <pc:sldChg chg="modSp mod">
        <pc:chgData name="Agarwal, Rashi SBOBNG-PTIV/LI" userId="fd7d9d23-41e3-4365-a353-79d16ae7ab6e" providerId="ADAL" clId="{3F5D1627-13BA-440E-A5EE-ADB6DEB90009}" dt="2024-09-06T13:36:13.598" v="713" actId="20577"/>
        <pc:sldMkLst>
          <pc:docMk/>
          <pc:sldMk cId="3267775274" sldId="256"/>
        </pc:sldMkLst>
        <pc:spChg chg="mod">
          <ac:chgData name="Agarwal, Rashi SBOBNG-PTIV/LI" userId="fd7d9d23-41e3-4365-a353-79d16ae7ab6e" providerId="ADAL" clId="{3F5D1627-13BA-440E-A5EE-ADB6DEB90009}" dt="2024-09-06T13:36:13.598" v="713" actId="20577"/>
          <ac:spMkLst>
            <pc:docMk/>
            <pc:sldMk cId="3267775274" sldId="256"/>
            <ac:spMk id="6" creationId="{0C37A4A8-A3C7-407F-B123-88E2E165C827}"/>
          </ac:spMkLst>
        </pc:spChg>
        <pc:spChg chg="mod">
          <ac:chgData name="Agarwal, Rashi SBOBNG-PTIV/LI" userId="fd7d9d23-41e3-4365-a353-79d16ae7ab6e" providerId="ADAL" clId="{3F5D1627-13BA-440E-A5EE-ADB6DEB90009}" dt="2024-09-06T12:34:06.897" v="6" actId="20577"/>
          <ac:spMkLst>
            <pc:docMk/>
            <pc:sldMk cId="3267775274" sldId="256"/>
            <ac:spMk id="13" creationId="{C48F8DD6-A1B3-8126-FAC3-218B712C7FFB}"/>
          </ac:spMkLst>
        </pc:spChg>
      </pc:sldChg>
      <pc:sldChg chg="addSp modSp mod">
        <pc:chgData name="Agarwal, Rashi SBOBNG-PTIV/LI" userId="fd7d9d23-41e3-4365-a353-79d16ae7ab6e" providerId="ADAL" clId="{3F5D1627-13BA-440E-A5EE-ADB6DEB90009}" dt="2024-09-06T12:49:01.785" v="124" actId="14100"/>
        <pc:sldMkLst>
          <pc:docMk/>
          <pc:sldMk cId="245881457" sldId="2147375597"/>
        </pc:sldMkLst>
        <pc:spChg chg="add">
          <ac:chgData name="Agarwal, Rashi SBOBNG-PTIV/LI" userId="fd7d9d23-41e3-4365-a353-79d16ae7ab6e" providerId="ADAL" clId="{3F5D1627-13BA-440E-A5EE-ADB6DEB90009}" dt="2024-09-06T12:44:29.718" v="44"/>
          <ac:spMkLst>
            <pc:docMk/>
            <pc:sldMk cId="245881457" sldId="2147375597"/>
            <ac:spMk id="2" creationId="{4AD9743C-7C63-7B63-F747-9D2C56FA7E87}"/>
          </ac:spMkLst>
        </pc:spChg>
        <pc:spChg chg="add">
          <ac:chgData name="Agarwal, Rashi SBOBNG-PTIV/LI" userId="fd7d9d23-41e3-4365-a353-79d16ae7ab6e" providerId="ADAL" clId="{3F5D1627-13BA-440E-A5EE-ADB6DEB90009}" dt="2024-09-06T12:44:48.704" v="93"/>
          <ac:spMkLst>
            <pc:docMk/>
            <pc:sldMk cId="245881457" sldId="2147375597"/>
            <ac:spMk id="5" creationId="{16660751-243A-6FC6-7313-3683A7B4B5AA}"/>
          </ac:spMkLst>
        </pc:spChg>
        <pc:spChg chg="mod">
          <ac:chgData name="Agarwal, Rashi SBOBNG-PTIV/LI" userId="fd7d9d23-41e3-4365-a353-79d16ae7ab6e" providerId="ADAL" clId="{3F5D1627-13BA-440E-A5EE-ADB6DEB90009}" dt="2024-09-06T12:47:22.701" v="121" actId="113"/>
          <ac:spMkLst>
            <pc:docMk/>
            <pc:sldMk cId="245881457" sldId="2147375597"/>
            <ac:spMk id="11" creationId="{DE9F1BE0-7910-FA1B-DCE8-56EFD1E4FC09}"/>
          </ac:spMkLst>
        </pc:spChg>
        <pc:picChg chg="add mod">
          <ac:chgData name="Agarwal, Rashi SBOBNG-PTIV/LI" userId="fd7d9d23-41e3-4365-a353-79d16ae7ab6e" providerId="ADAL" clId="{3F5D1627-13BA-440E-A5EE-ADB6DEB90009}" dt="2024-09-06T12:49:01.785" v="124" actId="14100"/>
          <ac:picMkLst>
            <pc:docMk/>
            <pc:sldMk cId="245881457" sldId="2147375597"/>
            <ac:picMk id="1028" creationId="{EC8D7644-E640-BF5E-C00D-E3F6A7BEA42F}"/>
          </ac:picMkLst>
        </pc:picChg>
      </pc:sldChg>
      <pc:sldChg chg="addSp modSp mod">
        <pc:chgData name="Agarwal, Rashi SBOBNG-PTIV/LI" userId="fd7d9d23-41e3-4365-a353-79d16ae7ab6e" providerId="ADAL" clId="{3F5D1627-13BA-440E-A5EE-ADB6DEB90009}" dt="2024-09-06T13:00:31.806" v="160" actId="14100"/>
        <pc:sldMkLst>
          <pc:docMk/>
          <pc:sldMk cId="1181112711" sldId="2147375600"/>
        </pc:sldMkLst>
        <pc:spChg chg="add">
          <ac:chgData name="Agarwal, Rashi SBOBNG-PTIV/LI" userId="fd7d9d23-41e3-4365-a353-79d16ae7ab6e" providerId="ADAL" clId="{3F5D1627-13BA-440E-A5EE-ADB6DEB90009}" dt="2024-09-06T12:50:57.104" v="141"/>
          <ac:spMkLst>
            <pc:docMk/>
            <pc:sldMk cId="1181112711" sldId="2147375600"/>
            <ac:spMk id="2" creationId="{AC0826BF-A72A-8429-ABE4-A4DECF1BB9FA}"/>
          </ac:spMkLst>
        </pc:spChg>
        <pc:spChg chg="mod">
          <ac:chgData name="Agarwal, Rashi SBOBNG-PTIV/LI" userId="fd7d9d23-41e3-4365-a353-79d16ae7ab6e" providerId="ADAL" clId="{3F5D1627-13BA-440E-A5EE-ADB6DEB90009}" dt="2024-09-06T13:00:23.329" v="158" actId="14100"/>
          <ac:spMkLst>
            <pc:docMk/>
            <pc:sldMk cId="1181112711" sldId="2147375600"/>
            <ac:spMk id="11" creationId="{DE9F1BE0-7910-FA1B-DCE8-56EFD1E4FC09}"/>
          </ac:spMkLst>
        </pc:spChg>
        <pc:picChg chg="add mod">
          <ac:chgData name="Agarwal, Rashi SBOBNG-PTIV/LI" userId="fd7d9d23-41e3-4365-a353-79d16ae7ab6e" providerId="ADAL" clId="{3F5D1627-13BA-440E-A5EE-ADB6DEB90009}" dt="2024-09-06T13:00:31.806" v="160" actId="14100"/>
          <ac:picMkLst>
            <pc:docMk/>
            <pc:sldMk cId="1181112711" sldId="2147375600"/>
            <ac:picMk id="2051" creationId="{4E9407AC-12F1-EA88-94B2-F3CFB4AE392B}"/>
          </ac:picMkLst>
        </pc:picChg>
      </pc:sldChg>
      <pc:sldChg chg="addSp delSp modSp mod">
        <pc:chgData name="Agarwal, Rashi SBOBNG-PTIV/LI" userId="fd7d9d23-41e3-4365-a353-79d16ae7ab6e" providerId="ADAL" clId="{3F5D1627-13BA-440E-A5EE-ADB6DEB90009}" dt="2024-09-06T13:06:03.383" v="216" actId="1076"/>
        <pc:sldMkLst>
          <pc:docMk/>
          <pc:sldMk cId="3233747587" sldId="2147375601"/>
        </pc:sldMkLst>
        <pc:spChg chg="add">
          <ac:chgData name="Agarwal, Rashi SBOBNG-PTIV/LI" userId="fd7d9d23-41e3-4365-a353-79d16ae7ab6e" providerId="ADAL" clId="{3F5D1627-13BA-440E-A5EE-ADB6DEB90009}" dt="2024-09-06T13:03:28.259" v="194"/>
          <ac:spMkLst>
            <pc:docMk/>
            <pc:sldMk cId="3233747587" sldId="2147375601"/>
            <ac:spMk id="2" creationId="{34864400-5369-F3B6-ABA7-F41554F2BF7C}"/>
          </ac:spMkLst>
        </pc:spChg>
        <pc:spChg chg="mod">
          <ac:chgData name="Agarwal, Rashi SBOBNG-PTIV/LI" userId="fd7d9d23-41e3-4365-a353-79d16ae7ab6e" providerId="ADAL" clId="{3F5D1627-13BA-440E-A5EE-ADB6DEB90009}" dt="2024-09-06T13:04:52.084" v="212" actId="14100"/>
          <ac:spMkLst>
            <pc:docMk/>
            <pc:sldMk cId="3233747587" sldId="2147375601"/>
            <ac:spMk id="11" creationId="{DE9F1BE0-7910-FA1B-DCE8-56EFD1E4FC09}"/>
          </ac:spMkLst>
        </pc:spChg>
        <pc:picChg chg="del mod">
          <ac:chgData name="Agarwal, Rashi SBOBNG-PTIV/LI" userId="fd7d9d23-41e3-4365-a353-79d16ae7ab6e" providerId="ADAL" clId="{3F5D1627-13BA-440E-A5EE-ADB6DEB90009}" dt="2024-09-06T13:04:55.393" v="213" actId="478"/>
          <ac:picMkLst>
            <pc:docMk/>
            <pc:sldMk cId="3233747587" sldId="2147375601"/>
            <ac:picMk id="1026" creationId="{E9C51008-9B43-72CD-CDCC-AFAFE72B6C31}"/>
          </ac:picMkLst>
        </pc:picChg>
        <pc:picChg chg="add mod">
          <ac:chgData name="Agarwal, Rashi SBOBNG-PTIV/LI" userId="fd7d9d23-41e3-4365-a353-79d16ae7ab6e" providerId="ADAL" clId="{3F5D1627-13BA-440E-A5EE-ADB6DEB90009}" dt="2024-09-06T13:06:03.383" v="216" actId="1076"/>
          <ac:picMkLst>
            <pc:docMk/>
            <pc:sldMk cId="3233747587" sldId="2147375601"/>
            <ac:picMk id="3075" creationId="{D76AD3C6-A675-9587-5790-F692EC53D4FE}"/>
          </ac:picMkLst>
        </pc:picChg>
      </pc:sldChg>
      <pc:sldChg chg="addSp delSp modSp mod">
        <pc:chgData name="Agarwal, Rashi SBOBNG-PTIV/LI" userId="fd7d9d23-41e3-4365-a353-79d16ae7ab6e" providerId="ADAL" clId="{3F5D1627-13BA-440E-A5EE-ADB6DEB90009}" dt="2024-09-06T13:11:20.023" v="255" actId="1076"/>
        <pc:sldMkLst>
          <pc:docMk/>
          <pc:sldMk cId="3971512377" sldId="2147375603"/>
        </pc:sldMkLst>
        <pc:spChg chg="add">
          <ac:chgData name="Agarwal, Rashi SBOBNG-PTIV/LI" userId="fd7d9d23-41e3-4365-a353-79d16ae7ab6e" providerId="ADAL" clId="{3F5D1627-13BA-440E-A5EE-ADB6DEB90009}" dt="2024-09-06T13:09:33.143" v="217"/>
          <ac:spMkLst>
            <pc:docMk/>
            <pc:sldMk cId="3971512377" sldId="2147375603"/>
            <ac:spMk id="2" creationId="{8C3A8FE5-FEAD-1334-E247-F7CB4FEB3DC7}"/>
          </ac:spMkLst>
        </pc:spChg>
        <pc:spChg chg="mod">
          <ac:chgData name="Agarwal, Rashi SBOBNG-PTIV/LI" userId="fd7d9d23-41e3-4365-a353-79d16ae7ab6e" providerId="ADAL" clId="{3F5D1627-13BA-440E-A5EE-ADB6DEB90009}" dt="2024-09-06T13:11:20.023" v="255" actId="1076"/>
          <ac:spMkLst>
            <pc:docMk/>
            <pc:sldMk cId="3971512377" sldId="2147375603"/>
            <ac:spMk id="11" creationId="{DE9F1BE0-7910-FA1B-DCE8-56EFD1E4FC09}"/>
          </ac:spMkLst>
        </pc:spChg>
        <pc:spChg chg="del mod">
          <ac:chgData name="Agarwal, Rashi SBOBNG-PTIV/LI" userId="fd7d9d23-41e3-4365-a353-79d16ae7ab6e" providerId="ADAL" clId="{3F5D1627-13BA-440E-A5EE-ADB6DEB90009}" dt="2024-09-06T13:11:13.736" v="254" actId="478"/>
          <ac:spMkLst>
            <pc:docMk/>
            <pc:sldMk cId="3971512377" sldId="2147375603"/>
            <ac:spMk id="12" creationId="{E53E5C3F-4D2B-B85F-E592-E58E032C664C}"/>
          </ac:spMkLst>
        </pc:spChg>
      </pc:sldChg>
      <pc:sldChg chg="addSp modSp mod">
        <pc:chgData name="Agarwal, Rashi SBOBNG-PTIV/LI" userId="fd7d9d23-41e3-4365-a353-79d16ae7ab6e" providerId="ADAL" clId="{3F5D1627-13BA-440E-A5EE-ADB6DEB90009}" dt="2024-09-06T13:34:17.793" v="711" actId="123"/>
        <pc:sldMkLst>
          <pc:docMk/>
          <pc:sldMk cId="3179805674" sldId="2147375604"/>
        </pc:sldMkLst>
        <pc:spChg chg="add">
          <ac:chgData name="Agarwal, Rashi SBOBNG-PTIV/LI" userId="fd7d9d23-41e3-4365-a353-79d16ae7ab6e" providerId="ADAL" clId="{3F5D1627-13BA-440E-A5EE-ADB6DEB90009}" dt="2024-09-06T13:11:50.752" v="259"/>
          <ac:spMkLst>
            <pc:docMk/>
            <pc:sldMk cId="3179805674" sldId="2147375604"/>
            <ac:spMk id="2" creationId="{58417BA0-D783-533D-C978-63BD0E65AACA}"/>
          </ac:spMkLst>
        </pc:spChg>
        <pc:spChg chg="mod">
          <ac:chgData name="Agarwal, Rashi SBOBNG-PTIV/LI" userId="fd7d9d23-41e3-4365-a353-79d16ae7ab6e" providerId="ADAL" clId="{3F5D1627-13BA-440E-A5EE-ADB6DEB90009}" dt="2024-09-06T13:34:17.793" v="711" actId="123"/>
          <ac:spMkLst>
            <pc:docMk/>
            <pc:sldMk cId="3179805674" sldId="2147375604"/>
            <ac:spMk id="11" creationId="{DE9F1BE0-7910-FA1B-DCE8-56EFD1E4FC09}"/>
          </ac:spMkLst>
        </pc:spChg>
      </pc:sldChg>
      <pc:sldChg chg="addSp modSp mod">
        <pc:chgData name="Agarwal, Rashi SBOBNG-PTIV/LI" userId="fd7d9d23-41e3-4365-a353-79d16ae7ab6e" providerId="ADAL" clId="{3F5D1627-13BA-440E-A5EE-ADB6DEB90009}" dt="2024-09-06T13:34:08.354" v="709" actId="123"/>
        <pc:sldMkLst>
          <pc:docMk/>
          <pc:sldMk cId="86366928" sldId="2147375605"/>
        </pc:sldMkLst>
        <pc:spChg chg="add">
          <ac:chgData name="Agarwal, Rashi SBOBNG-PTIV/LI" userId="fd7d9d23-41e3-4365-a353-79d16ae7ab6e" providerId="ADAL" clId="{3F5D1627-13BA-440E-A5EE-ADB6DEB90009}" dt="2024-09-06T13:14:46.803" v="285"/>
          <ac:spMkLst>
            <pc:docMk/>
            <pc:sldMk cId="86366928" sldId="2147375605"/>
            <ac:spMk id="2" creationId="{E9D7C515-761B-001B-DC97-F523039550D3}"/>
          </ac:spMkLst>
        </pc:spChg>
        <pc:spChg chg="mod">
          <ac:chgData name="Agarwal, Rashi SBOBNG-PTIV/LI" userId="fd7d9d23-41e3-4365-a353-79d16ae7ab6e" providerId="ADAL" clId="{3F5D1627-13BA-440E-A5EE-ADB6DEB90009}" dt="2024-09-06T13:34:08.354" v="709" actId="123"/>
          <ac:spMkLst>
            <pc:docMk/>
            <pc:sldMk cId="86366928" sldId="2147375605"/>
            <ac:spMk id="11" creationId="{DE9F1BE0-7910-FA1B-DCE8-56EFD1E4FC09}"/>
          </ac:spMkLst>
        </pc:spChg>
      </pc:sldChg>
      <pc:sldChg chg="add del">
        <pc:chgData name="Agarwal, Rashi SBOBNG-PTIV/LI" userId="fd7d9d23-41e3-4365-a353-79d16ae7ab6e" providerId="ADAL" clId="{3F5D1627-13BA-440E-A5EE-ADB6DEB90009}" dt="2024-09-06T13:28:57.633" v="291" actId="47"/>
        <pc:sldMkLst>
          <pc:docMk/>
          <pc:sldMk cId="2653617092" sldId="2147375606"/>
        </pc:sldMkLst>
      </pc:sldChg>
      <pc:sldChg chg="add ord">
        <pc:chgData name="Agarwal, Rashi SBOBNG-PTIV/LI" userId="fd7d9d23-41e3-4365-a353-79d16ae7ab6e" providerId="ADAL" clId="{3F5D1627-13BA-440E-A5EE-ADB6DEB90009}" dt="2024-09-06T13:29:37.010" v="294"/>
        <pc:sldMkLst>
          <pc:docMk/>
          <pc:sldMk cId="660662221" sldId="2147375612"/>
        </pc:sldMkLst>
      </pc:sldChg>
      <pc:sldChg chg="delSp modSp add mod ord">
        <pc:chgData name="Agarwal, Rashi SBOBNG-PTIV/LI" userId="fd7d9d23-41e3-4365-a353-79d16ae7ab6e" providerId="ADAL" clId="{3F5D1627-13BA-440E-A5EE-ADB6DEB90009}" dt="2024-09-06T13:34:01.275" v="708" actId="1076"/>
        <pc:sldMkLst>
          <pc:docMk/>
          <pc:sldMk cId="1148838763" sldId="2147375613"/>
        </pc:sldMkLst>
        <pc:spChg chg="mod">
          <ac:chgData name="Agarwal, Rashi SBOBNG-PTIV/LI" userId="fd7d9d23-41e3-4365-a353-79d16ae7ab6e" providerId="ADAL" clId="{3F5D1627-13BA-440E-A5EE-ADB6DEB90009}" dt="2024-09-06T13:34:01.275" v="708" actId="1076"/>
          <ac:spMkLst>
            <pc:docMk/>
            <pc:sldMk cId="1148838763" sldId="2147375613"/>
            <ac:spMk id="11" creationId="{8CC1343B-2E39-FEFF-8FF6-46822F18B432}"/>
          </ac:spMkLst>
        </pc:spChg>
        <pc:spChg chg="del">
          <ac:chgData name="Agarwal, Rashi SBOBNG-PTIV/LI" userId="fd7d9d23-41e3-4365-a353-79d16ae7ab6e" providerId="ADAL" clId="{3F5D1627-13BA-440E-A5EE-ADB6DEB90009}" dt="2024-09-06T13:33:58.954" v="707" actId="478"/>
          <ac:spMkLst>
            <pc:docMk/>
            <pc:sldMk cId="1148838763" sldId="2147375613"/>
            <ac:spMk id="12" creationId="{5A873A1A-E63F-91AE-7D43-ED0F8687014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a:t>
            </a:r>
            <a:r>
              <a:rPr lang="en-US" sz="4000"/>
              <a:t>Week 2</a:t>
            </a:r>
            <a:endParaRPr lang="en-US" sz="4000" dirty="0"/>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ashi Agar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60278"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1. Scalability and Flexibility: Energy companies often deal with large volumes of data from various sources like smart meters, sensors, and IoT devices. Cloud infrastructure provides the scalability needed to handle this data efficiently, allowing for flexible storage and processing capabilities that can grow with the company's needs.</a:t>
            </a:r>
          </a:p>
          <a:p>
            <a:pPr marL="0" indent="0" algn="just">
              <a:buNone/>
            </a:pPr>
            <a:endParaRPr lang="en-GB" sz="2000" dirty="0"/>
          </a:p>
          <a:p>
            <a:pPr marL="0" indent="0" algn="just">
              <a:buNone/>
            </a:pPr>
            <a:r>
              <a:rPr lang="en-GB" sz="2000" dirty="0"/>
              <a:t>2. Data Analytics and Insights: Cloud platforms offer powerful tools for data analytics and machine learning. Energy companies can leverage these tools to </a:t>
            </a:r>
            <a:r>
              <a:rPr lang="en-GB" sz="2000" dirty="0" err="1"/>
              <a:t>analyze</a:t>
            </a:r>
            <a:r>
              <a:rPr lang="en-GB" sz="2000" dirty="0"/>
              <a:t> consumption patterns, predict maintenance needs, and optimize energy distribution, leading to more efficient operations and cost savings.</a:t>
            </a:r>
          </a:p>
          <a:p>
            <a:pPr marL="0" indent="0" algn="just">
              <a:buNone/>
            </a:pPr>
            <a:endParaRPr lang="en-GB" sz="2000" dirty="0"/>
          </a:p>
          <a:p>
            <a:pPr marL="0" indent="0" algn="just">
              <a:buNone/>
            </a:pPr>
            <a:r>
              <a:rPr lang="en-GB" sz="2000" dirty="0"/>
              <a:t>3. Disaster Recovery and Security: Cloud infrastructure provides robust disaster recovery solutions and enhanced security features. This ensures that critical energy systems and data are protected against cyber threats and can be quickly restored in case of any disruptions, maintaining the reliability and integrity of energy services.</a:t>
            </a:r>
          </a:p>
          <a:p>
            <a:pPr marL="0" indent="0" algn="just">
              <a:buNone/>
            </a:pPr>
            <a:endParaRPr lang="en-GB" sz="2000" dirty="0"/>
          </a:p>
          <a:p>
            <a:pPr marL="0" indent="0" algn="just">
              <a:buNone/>
            </a:pPr>
            <a:endParaRPr lang="en-GB"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3032995"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We did many group activities in teams to which made us understand the concepts more and kept the classes interesting.</a:t>
            </a:r>
          </a:p>
          <a:p>
            <a:pPr marL="0" indent="0" algn="ctr">
              <a:buFont typeface="Arial" panose="020B0604020202020204" pitchFamily="34" charset="0"/>
              <a:buNone/>
            </a:pPr>
            <a:r>
              <a:rPr lang="en-US" sz="2000" dirty="0"/>
              <a:t>One of the group activity was to make paper air-planes which was a project that was given by our facilitator as to understand the importance of requirement analysis before starting working on any project. It was pretty fun and creative!</a:t>
            </a:r>
          </a:p>
        </p:txBody>
      </p:sp>
    </p:spTree>
    <p:extLst>
      <p:ext uri="{BB962C8B-B14F-4D97-AF65-F5344CB8AC3E}">
        <p14:creationId xmlns:p14="http://schemas.microsoft.com/office/powerpoint/2010/main" val="1148838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dirty="0"/>
              <a:t>“Do the best you can until you know better. Then when you know better, do better.” </a:t>
            </a:r>
          </a:p>
          <a:p>
            <a:pPr marL="0" indent="0" algn="ctr">
              <a:buFont typeface="Arial" panose="020B0604020202020204" pitchFamily="34" charset="0"/>
              <a:buNone/>
            </a:pPr>
            <a:r>
              <a:rPr lang="en-GB" sz="2000" dirty="0"/>
              <a:t>- Maya Angelou</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8" name="Picture 7" descr="A child with his hands on his head&#10;&#10;Description automatically generated">
            <a:extLst>
              <a:ext uri="{FF2B5EF4-FFF2-40B4-BE49-F238E27FC236}">
                <a16:creationId xmlns:a16="http://schemas.microsoft.com/office/drawing/2014/main" id="{95BB9A4B-29CD-3D02-992E-5D4BD813CF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0800" y="1831738"/>
            <a:ext cx="5349005" cy="41529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 – Technical skills</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US" sz="2000" dirty="0"/>
              <a:t>SOFTWARE TESTING LIFE CYCLE</a:t>
            </a:r>
          </a:p>
          <a:p>
            <a:r>
              <a:rPr lang="en-GB" sz="2000" b="1" dirty="0"/>
              <a:t>Requirement Analysis</a:t>
            </a:r>
            <a:r>
              <a:rPr lang="en-GB" sz="2000" dirty="0"/>
              <a:t>: Understanding and </a:t>
            </a:r>
            <a:r>
              <a:rPr lang="en-GB" sz="2000" dirty="0" err="1"/>
              <a:t>analyzing</a:t>
            </a:r>
            <a:r>
              <a:rPr lang="en-GB" sz="2000" dirty="0"/>
              <a:t> the testing requirements based on the client's needs and specifications.</a:t>
            </a:r>
          </a:p>
          <a:p>
            <a:r>
              <a:rPr lang="en-GB" sz="2000" b="1" dirty="0"/>
              <a:t>Test Planning: </a:t>
            </a:r>
            <a:r>
              <a:rPr lang="en-GB" sz="2000" dirty="0"/>
              <a:t>Creating a detailed test plan, including the scope, objectives, resources, schedule, and risk management.</a:t>
            </a:r>
          </a:p>
          <a:p>
            <a:r>
              <a:rPr lang="en-GB" sz="2000" b="1" dirty="0"/>
              <a:t>Test Execution</a:t>
            </a:r>
            <a:r>
              <a:rPr lang="en-GB" sz="2000" dirty="0"/>
              <a:t>: Running the tests as per the plan, logging defects, and retesting until the software meets the quality standards.</a:t>
            </a:r>
          </a:p>
          <a:p>
            <a:endParaRPr lang="en-GB" sz="2000" dirty="0"/>
          </a:p>
        </p:txBody>
      </p:sp>
      <p:pic>
        <p:nvPicPr>
          <p:cNvPr id="1028" name="Picture 4" descr="Software Testing Life Cycle STLC Phases New &amp; Easy [ 2024 ]">
            <a:extLst>
              <a:ext uri="{FF2B5EF4-FFF2-40B4-BE49-F238E27FC236}">
                <a16:creationId xmlns:a16="http://schemas.microsoft.com/office/drawing/2014/main" id="{EC8D7644-E640-BF5E-C00D-E3F6A7BEA4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12255" y="1941742"/>
            <a:ext cx="4514850" cy="3995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6304046" cy="439756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GB" sz="2000" dirty="0"/>
              <a:t>GitHub Actions</a:t>
            </a:r>
          </a:p>
          <a:p>
            <a:r>
              <a:rPr lang="en-GB" sz="2000" dirty="0"/>
              <a:t>Automation: GitHub Actions allows you to automate workflows directly from your GitHub repository. You can automate tasks like CI/CD, testing, and deployment.</a:t>
            </a:r>
          </a:p>
          <a:p>
            <a:r>
              <a:rPr lang="en-GB" sz="2000" dirty="0"/>
              <a:t>Custom Workflows: You can create custom workflows using YAML syntax. These workflows can be triggered by various events such as pushes, pull requests, or scheduled times.</a:t>
            </a:r>
          </a:p>
          <a:p>
            <a:r>
              <a:rPr lang="en-GB" sz="2000" dirty="0"/>
              <a:t>Integration: GitHub Actions integrates seamlessly with other GitHub features and third-party services, making it easy to build, test, and deploy your code.</a:t>
            </a:r>
          </a:p>
          <a:p>
            <a:endParaRPr lang="en-GB" sz="2000" dirty="0"/>
          </a:p>
          <a:p>
            <a:endParaRPr lang="en-GB" sz="2000" dirty="0"/>
          </a:p>
        </p:txBody>
      </p:sp>
      <p:pic>
        <p:nvPicPr>
          <p:cNvPr id="2051" name="Picture 3" descr="The Beginner's Guide to Github Actions">
            <a:extLst>
              <a:ext uri="{FF2B5EF4-FFF2-40B4-BE49-F238E27FC236}">
                <a16:creationId xmlns:a16="http://schemas.microsoft.com/office/drawing/2014/main" id="{4E9407AC-12F1-EA88-94B2-F3CFB4AE39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38467" y="1779688"/>
            <a:ext cx="4785361" cy="4478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62634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US" sz="2000" dirty="0"/>
              <a:t>Cloud Infrastructure Components</a:t>
            </a:r>
          </a:p>
          <a:p>
            <a:r>
              <a:rPr lang="en-GB" sz="2000" dirty="0"/>
              <a:t>Compute Resources: These include virtual machines (VMs), containers, and serverless functions that provide the processing power needed to run applications and services.</a:t>
            </a:r>
          </a:p>
          <a:p>
            <a:r>
              <a:rPr lang="en-GB" sz="2000" dirty="0"/>
              <a:t>Storage Solutions: Cloud storage options such as object storage, block storage, and file storage allow for the scalable and secure storage of data.</a:t>
            </a:r>
          </a:p>
          <a:p>
            <a:r>
              <a:rPr lang="en-GB" sz="2000" dirty="0"/>
              <a:t>Networking: This encompasses virtual networks, load balancers, and gateways that ensure secure and efficient communication between cloud resources and the internet.</a:t>
            </a:r>
            <a:endParaRPr lang="en-US" sz="1800" dirty="0"/>
          </a:p>
        </p:txBody>
      </p:sp>
      <p:pic>
        <p:nvPicPr>
          <p:cNvPr id="3075" name="Picture 3" descr="cloud computing MSA Technosoft">
            <a:extLst>
              <a:ext uri="{FF2B5EF4-FFF2-40B4-BE49-F238E27FC236}">
                <a16:creationId xmlns:a16="http://schemas.microsoft.com/office/drawing/2014/main" id="{D76AD3C6-A675-9587-5790-F692EC53D4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9146" y="1941742"/>
            <a:ext cx="5554133" cy="4165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1343682" y="1982912"/>
            <a:ext cx="8694398"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GB" sz="2000" dirty="0"/>
              <a:t>Ensuring Reliability and Safety: STLC helps in identifying and mitigating defects early, ensuring that the software operates without failures, which is crucial for safety and reliability.</a:t>
            </a:r>
          </a:p>
          <a:p>
            <a:pPr marL="0" indent="0">
              <a:buNone/>
            </a:pPr>
            <a:r>
              <a:rPr lang="en-GB" sz="2000" dirty="0"/>
              <a:t> Compliance and Standards: STLC ensures that the software meets all regulatory requirements and industry standards, reducing the risk of non-compliance.</a:t>
            </a:r>
          </a:p>
          <a:p>
            <a:pPr marL="0" indent="0">
              <a:buNone/>
            </a:pPr>
            <a:r>
              <a:rPr lang="en-GB" sz="2000" dirty="0"/>
              <a:t>Optimizing Performance: Through rigorous testing phases in STLC, performance bottlenecks can be identified and resolved, leading to more efficient energy usage and cost saving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04292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2000" dirty="0"/>
              <a:t>Automation of DevOps Processes: Energy companies often rely on complex software systems for monitoring, control, and data analysis. GitHub Actions can automate the continuous integration and continuous deployment (CI/CD) pipelines, ensuring that updates and patches are deployed efficiently and reliably.</a:t>
            </a:r>
          </a:p>
          <a:p>
            <a:pPr marL="0" indent="0" algn="just">
              <a:buNone/>
            </a:pPr>
            <a:r>
              <a:rPr lang="en-GB" sz="2000" dirty="0"/>
              <a:t>Improved Collaboration: With GitHub Actions, teams can collaborate more effectively on code development and testing. Automated workflows can handle code reviews, testing, and merging, which helps in maintaining high-quality code and reducing the time to market for new features and improvements.</a:t>
            </a:r>
          </a:p>
          <a:p>
            <a:pPr marL="0" indent="0" algn="just">
              <a:buNone/>
            </a:pPr>
            <a:r>
              <a:rPr lang="en-GB" sz="2000" dirty="0"/>
              <a:t>Monitoring and Compliance: Energy sector software must comply with various regulatory standards. GitHub Actions can automate compliance checks and security scans, ensuring that the software adheres to industry regulations and standards. This helps in maintaining the integrity and security of critical energy infrastructure.</a:t>
            </a:r>
          </a:p>
          <a:p>
            <a:pPr marL="0" indent="0" algn="just">
              <a:buNone/>
            </a:pPr>
            <a:endParaRPr lang="en-GB"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23</TotalTime>
  <Words>854</Words>
  <Application>Microsoft Office PowerPoint</Application>
  <PresentationFormat>Widescreen</PresentationFormat>
  <Paragraphs>55</Paragraphs>
  <Slides>1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arwal, Rashi SBOBNG-PTIV/LI</cp:lastModifiedBy>
  <cp:revision>502</cp:revision>
  <dcterms:created xsi:type="dcterms:W3CDTF">2022-01-18T12:35:56Z</dcterms:created>
  <dcterms:modified xsi:type="dcterms:W3CDTF">2024-09-06T13:3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